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5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6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5A5A5A"/>
    <a:srgbClr val="767676"/>
    <a:srgbClr val="B7B7B7"/>
    <a:srgbClr val="DCDCDC"/>
    <a:srgbClr val="8D8D8D"/>
    <a:srgbClr val="C60018"/>
    <a:srgbClr val="E5E5E5"/>
    <a:srgbClr val="BDBD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48" d="100"/>
          <a:sy n="148" d="100"/>
        </p:scale>
        <p:origin x="1278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6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A8E92499-D9ED-4086-A668-D0FD04E05018}"/>
    <pc:docChg chg="delSld">
      <pc:chgData name="Meyer Raphael (PAR-ES)" userId="79615dfe-ed48-4e74-a40f-4f7b034c1c27" providerId="ADAL" clId="{A8E92499-D9ED-4086-A668-D0FD04E05018}" dt="2022-03-09T16:36:41.793" v="0" actId="47"/>
      <pc:docMkLst>
        <pc:docMk/>
      </pc:docMkLst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2868978950" sldId="416"/>
        </pc:sldMkLst>
      </pc:sldChg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976233813" sldId="417"/>
        </pc:sldMkLst>
      </pc:sldChg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407174717" sldId="418"/>
        </pc:sldMkLst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Weigel Stefan (PAR-EPS)" userId="fd3b2067-2981-4ad8-bf3a-d2e1004e4fa8" providerId="ADAL" clId="{FAB06E04-566D-41A3-A270-6F4FAEEBF2E7}"/>
    <pc:docChg chg="custSel modSld">
      <pc:chgData name="Weigel Stefan (PAR-EPS)" userId="fd3b2067-2981-4ad8-bf3a-d2e1004e4fa8" providerId="ADAL" clId="{FAB06E04-566D-41A3-A270-6F4FAEEBF2E7}" dt="2024-02-02T11:38:27.261" v="28" actId="27918"/>
      <pc:docMkLst>
        <pc:docMk/>
      </pc:docMkLst>
      <pc:sldChg chg="modSp mod">
        <pc:chgData name="Weigel Stefan (PAR-EPS)" userId="fd3b2067-2981-4ad8-bf3a-d2e1004e4fa8" providerId="ADAL" clId="{FAB06E04-566D-41A3-A270-6F4FAEEBF2E7}" dt="2024-02-02T11:38:27.261" v="28" actId="27918"/>
        <pc:sldMkLst>
          <pc:docMk/>
          <pc:sldMk cId="3865012081" sldId="415"/>
        </pc:sldMkLst>
        <pc:spChg chg="mod">
          <ac:chgData name="Weigel Stefan (PAR-EPS)" userId="fd3b2067-2981-4ad8-bf3a-d2e1004e4fa8" providerId="ADAL" clId="{FAB06E04-566D-41A3-A270-6F4FAEEBF2E7}" dt="2024-02-02T11:37:21.887" v="25" actId="121"/>
          <ac:spMkLst>
            <pc:docMk/>
            <pc:sldMk cId="3865012081" sldId="415"/>
            <ac:spMk id="12" creationId="{1A4657D7-3337-475E-8E67-E8F468A949AF}"/>
          </ac:spMkLst>
        </pc:spChg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105DCFF-B028-4B19-B633-C7AB10EE03B9}"/>
    <pc:docChg chg="modSld">
      <pc:chgData name="Meyer Raphael (PAR-ES)" userId="79615dfe-ed48-4e74-a40f-4f7b034c1c27" providerId="ADAL" clId="{B105DCFF-B028-4B19-B633-C7AB10EE03B9}" dt="2023-02-24T14:02:08.610" v="3" actId="27918"/>
      <pc:docMkLst>
        <pc:docMk/>
      </pc:docMkLst>
      <pc:sldChg chg="mod">
        <pc:chgData name="Meyer Raphael (PAR-ES)" userId="79615dfe-ed48-4e74-a40f-4f7b034c1c27" providerId="ADAL" clId="{B105DCFF-B028-4B19-B633-C7AB10EE03B9}" dt="2023-02-24T14:02:08.610" v="3" actId="27918"/>
        <pc:sldMkLst>
          <pc:docMk/>
          <pc:sldMk cId="3865012081" sldId="415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9A00C47-D07F-4C0B-9E51-38C98F48B301}"/>
    <pc:docChg chg="undo custSel addSld delSld modSld">
      <pc:chgData name="Meyer Raphael (PAR-ES)" userId="79615dfe-ed48-4e74-a40f-4f7b034c1c27" providerId="ADAL" clId="{49A00C47-D07F-4C0B-9E51-38C98F48B301}" dt="2023-02-27T10:12:58.700" v="143" actId="27918"/>
      <pc:docMkLst>
        <pc:docMk/>
      </pc:docMkLst>
      <pc:sldChg chg="addSp delSp modSp mod">
        <pc:chgData name="Meyer Raphael (PAR-ES)" userId="79615dfe-ed48-4e74-a40f-4f7b034c1c27" providerId="ADAL" clId="{49A00C47-D07F-4C0B-9E51-38C98F48B301}" dt="2023-02-27T10:12:58.700" v="143" actId="27918"/>
        <pc:sldMkLst>
          <pc:docMk/>
          <pc:sldMk cId="3865012081" sldId="415"/>
        </pc:sldMkLst>
        <pc:spChg chg="add del mod">
          <ac:chgData name="Meyer Raphael (PAR-ES)" userId="79615dfe-ed48-4e74-a40f-4f7b034c1c27" providerId="ADAL" clId="{49A00C47-D07F-4C0B-9E51-38C98F48B301}" dt="2023-02-24T14:10:39.745" v="39" actId="478"/>
          <ac:spMkLst>
            <pc:docMk/>
            <pc:sldMk cId="3865012081" sldId="415"/>
            <ac:spMk id="2" creationId="{C65F094E-485C-93D4-FD21-4EC5371D4536}"/>
          </ac:spMkLst>
        </pc:spChg>
        <pc:spChg chg="mod">
          <ac:chgData name="Meyer Raphael (PAR-ES)" userId="79615dfe-ed48-4e74-a40f-4f7b034c1c27" providerId="ADAL" clId="{49A00C47-D07F-4C0B-9E51-38C98F48B301}" dt="2023-02-24T14:09:51.903" v="36" actId="6549"/>
          <ac:spMkLst>
            <pc:docMk/>
            <pc:sldMk cId="3865012081" sldId="415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49A00C47-D07F-4C0B-9E51-38C98F48B301}" dt="2023-02-27T10:09:58.270" v="132" actId="20577"/>
          <ac:spMkLst>
            <pc:docMk/>
            <pc:sldMk cId="3865012081" sldId="415"/>
            <ac:spMk id="11" creationId="{45495507-A500-4876-A7D7-039B7559AD0C}"/>
          </ac:spMkLst>
        </pc:spChg>
        <pc:graphicFrameChg chg="mod">
          <ac:chgData name="Meyer Raphael (PAR-ES)" userId="79615dfe-ed48-4e74-a40f-4f7b034c1c27" providerId="ADAL" clId="{49A00C47-D07F-4C0B-9E51-38C98F48B301}" dt="2023-02-27T10:08:40.816" v="126"/>
          <ac:graphicFrameMkLst>
            <pc:docMk/>
            <pc:sldMk cId="3865012081" sldId="415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49A00C47-D07F-4C0B-9E51-38C98F48B301}" dt="2023-02-24T15:12:36.526" v="117" actId="47"/>
        <pc:sldMkLst>
          <pc:docMk/>
          <pc:sldMk cId="129412210" sldId="416"/>
        </pc:sldMkLst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Weigel Stefan (PAR-EPS)" userId="fd3b2067-2981-4ad8-bf3a-d2e1004e4fa8" providerId="ADAL" clId="{A043C193-B6BA-413C-A90A-4B54DC85B6F3}"/>
    <pc:docChg chg="modSld">
      <pc:chgData name="Weigel Stefan (PAR-EPS)" userId="fd3b2067-2981-4ad8-bf3a-d2e1004e4fa8" providerId="ADAL" clId="{A043C193-B6BA-413C-A90A-4B54DC85B6F3}" dt="2025-02-24T11:03:00.318" v="26" actId="20577"/>
      <pc:docMkLst>
        <pc:docMk/>
      </pc:docMkLst>
      <pc:sldChg chg="modSp mod">
        <pc:chgData name="Weigel Stefan (PAR-EPS)" userId="fd3b2067-2981-4ad8-bf3a-d2e1004e4fa8" providerId="ADAL" clId="{A043C193-B6BA-413C-A90A-4B54DC85B6F3}" dt="2025-02-24T11:03:00.318" v="26" actId="20577"/>
        <pc:sldMkLst>
          <pc:docMk/>
          <pc:sldMk cId="3865012081" sldId="415"/>
        </pc:sldMkLst>
        <pc:spChg chg="mod">
          <ac:chgData name="Weigel Stefan (PAR-EPS)" userId="fd3b2067-2981-4ad8-bf3a-d2e1004e4fa8" providerId="ADAL" clId="{A043C193-B6BA-413C-A90A-4B54DC85B6F3}" dt="2025-02-24T11:03:00.318" v="26" actId="20577"/>
          <ac:spMkLst>
            <pc:docMk/>
            <pc:sldMk cId="3865012081" sldId="415"/>
            <ac:spMk id="11" creationId="{45495507-A500-4876-A7D7-039B7559AD0C}"/>
          </ac:spMkLst>
        </pc:spChg>
        <pc:graphicFrameChg chg="mod">
          <ac:chgData name="Weigel Stefan (PAR-EPS)" userId="fd3b2067-2981-4ad8-bf3a-d2e1004e4fa8" providerId="ADAL" clId="{A043C193-B6BA-413C-A90A-4B54DC85B6F3}" dt="2025-02-14T18:23:29.179" v="8"/>
          <ac:graphicFrameMkLst>
            <pc:docMk/>
            <pc:sldMk cId="3865012081" sldId="41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6C4A0EA-2388-4B74-96B0-FDC2F7AF02B2}"/>
    <pc:docChg chg="custSel addSld delSld modSld sldOrd">
      <pc:chgData name="Meyer Raphael (PAR-ES)" userId="79615dfe-ed48-4e74-a40f-4f7b034c1c27" providerId="ADAL" clId="{66C4A0EA-2388-4B74-96B0-FDC2F7AF02B2}" dt="2022-03-09T16:23:27.109" v="55" actId="27918"/>
      <pc:docMkLst>
        <pc:docMk/>
      </pc:docMkLst>
      <pc:sldChg chg="del">
        <pc:chgData name="Meyer Raphael (PAR-ES)" userId="79615dfe-ed48-4e74-a40f-4f7b034c1c27" providerId="ADAL" clId="{66C4A0EA-2388-4B74-96B0-FDC2F7AF02B2}" dt="2022-03-09T16:15:51.523" v="0" actId="47"/>
        <pc:sldMkLst>
          <pc:docMk/>
          <pc:sldMk cId="1774855510" sldId="414"/>
        </pc:sldMkLst>
      </pc:sldChg>
      <pc:sldChg chg="mod">
        <pc:chgData name="Meyer Raphael (PAR-ES)" userId="79615dfe-ed48-4e74-a40f-4f7b034c1c27" providerId="ADAL" clId="{66C4A0EA-2388-4B74-96B0-FDC2F7AF02B2}" dt="2022-03-09T16:18:35.148" v="24" actId="27918"/>
        <pc:sldMkLst>
          <pc:docMk/>
          <pc:sldMk cId="3865012081" sldId="415"/>
        </pc:sldMkLst>
      </pc:sldChg>
      <pc:sldChg chg="modSp add mod ord">
        <pc:chgData name="Meyer Raphael (PAR-ES)" userId="79615dfe-ed48-4e74-a40f-4f7b034c1c27" providerId="ADAL" clId="{66C4A0EA-2388-4B74-96B0-FDC2F7AF02B2}" dt="2022-03-09T16:18:54.115" v="29"/>
        <pc:sldMkLst>
          <pc:docMk/>
          <pc:sldMk cId="2868978950" sldId="416"/>
        </pc:sldMkLst>
        <pc:spChg chg="mod">
          <ac:chgData name="Meyer Raphael (PAR-ES)" userId="79615dfe-ed48-4e74-a40f-4f7b034c1c27" providerId="ADAL" clId="{66C4A0EA-2388-4B74-96B0-FDC2F7AF02B2}" dt="2022-03-09T16:16:26.111" v="4"/>
          <ac:spMkLst>
            <pc:docMk/>
            <pc:sldMk cId="2868978950" sldId="416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16:51.514" v="5"/>
          <ac:spMkLst>
            <pc:docMk/>
            <pc:sldMk cId="2868978950" sldId="416"/>
            <ac:spMk id="11" creationId="{45495507-A500-4876-A7D7-039B7559AD0C}"/>
          </ac:spMkLst>
        </pc:spChg>
      </pc:sldChg>
      <pc:sldChg chg="modSp add mod">
        <pc:chgData name="Meyer Raphael (PAR-ES)" userId="79615dfe-ed48-4e74-a40f-4f7b034c1c27" providerId="ADAL" clId="{66C4A0EA-2388-4B74-96B0-FDC2F7AF02B2}" dt="2022-03-09T16:21:27.322" v="42" actId="27918"/>
        <pc:sldMkLst>
          <pc:docMk/>
          <pc:sldMk cId="976233813" sldId="417"/>
        </pc:sldMkLst>
        <pc:spChg chg="mod">
          <ac:chgData name="Meyer Raphael (PAR-ES)" userId="79615dfe-ed48-4e74-a40f-4f7b034c1c27" providerId="ADAL" clId="{66C4A0EA-2388-4B74-96B0-FDC2F7AF02B2}" dt="2022-03-09T16:19:41.464" v="30"/>
          <ac:spMkLst>
            <pc:docMk/>
            <pc:sldMk cId="976233813" sldId="417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0:01.271" v="31"/>
          <ac:spMkLst>
            <pc:docMk/>
            <pc:sldMk cId="976233813" sldId="417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1:05.488" v="37" actId="20577"/>
          <ac:spMkLst>
            <pc:docMk/>
            <pc:sldMk cId="976233813" sldId="417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3015967454" sldId="417"/>
        </pc:sldMkLst>
      </pc:sldChg>
      <pc:sldChg chg="modSp add mod">
        <pc:chgData name="Meyer Raphael (PAR-ES)" userId="79615dfe-ed48-4e74-a40f-4f7b034c1c27" providerId="ADAL" clId="{66C4A0EA-2388-4B74-96B0-FDC2F7AF02B2}" dt="2022-03-09T16:23:27.109" v="55" actId="27918"/>
        <pc:sldMkLst>
          <pc:docMk/>
          <pc:sldMk cId="407174717" sldId="418"/>
        </pc:sldMkLst>
        <pc:spChg chg="mod">
          <ac:chgData name="Meyer Raphael (PAR-ES)" userId="79615dfe-ed48-4e74-a40f-4f7b034c1c27" providerId="ADAL" clId="{66C4A0EA-2388-4B74-96B0-FDC2F7AF02B2}" dt="2022-03-09T16:22:17.056" v="43"/>
          <ac:spMkLst>
            <pc:docMk/>
            <pc:sldMk cId="407174717" sldId="418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2:37.624" v="44"/>
          <ac:spMkLst>
            <pc:docMk/>
            <pc:sldMk cId="407174717" sldId="418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2:41.606" v="50" actId="20577"/>
          <ac:spMkLst>
            <pc:docMk/>
            <pc:sldMk cId="407174717" sldId="418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2492649957" sldId="418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PAR-ES)" userId="79615dfe-ed48-4e74-a40f-4f7b034c1c27" providerId="ADAL" clId="{075BCFC8-B02B-4DC4-A4AE-CC9F64D1F990}"/>
    <pc:docChg chg="custSel addSld delSld modSld">
      <pc:chgData name="Meyer Raphael (PAR-ES)" userId="79615dfe-ed48-4e74-a40f-4f7b034c1c27" providerId="ADAL" clId="{075BCFC8-B02B-4DC4-A4AE-CC9F64D1F990}" dt="2022-03-09T15:42:32.028" v="46" actId="27918"/>
      <pc:docMkLst>
        <pc:docMk/>
      </pc:docMkLst>
      <pc:sldChg chg="del">
        <pc:chgData name="Meyer Raphael (PAR-ES)" userId="79615dfe-ed48-4e74-a40f-4f7b034c1c27" providerId="ADAL" clId="{075BCFC8-B02B-4DC4-A4AE-CC9F64D1F990}" dt="2022-03-09T15:36:05.484" v="0" actId="47"/>
        <pc:sldMkLst>
          <pc:docMk/>
          <pc:sldMk cId="3064315074" sldId="413"/>
        </pc:sldMkLst>
      </pc:sldChg>
      <pc:sldChg chg="modSp">
        <pc:chgData name="Meyer Raphael (PAR-ES)" userId="79615dfe-ed48-4e74-a40f-4f7b034c1c27" providerId="ADAL" clId="{075BCFC8-B02B-4DC4-A4AE-CC9F64D1F990}" dt="2022-03-09T15:40:36.470" v="29"/>
        <pc:sldMkLst>
          <pc:docMk/>
          <pc:sldMk cId="1774855510" sldId="414"/>
        </pc:sldMkLst>
        <pc:graphicFrameChg chg="mod">
          <ac:chgData name="Meyer Raphael (PAR-ES)" userId="79615dfe-ed48-4e74-a40f-4f7b034c1c27" providerId="ADAL" clId="{075BCFC8-B02B-4DC4-A4AE-CC9F64D1F990}" dt="2022-03-09T15:40:36.470" v="29"/>
          <ac:graphicFrameMkLst>
            <pc:docMk/>
            <pc:sldMk cId="1774855510" sldId="414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23.320" v="28"/>
        <pc:sldMkLst>
          <pc:docMk/>
          <pc:sldMk cId="2844382326" sldId="415"/>
        </pc:sldMkLst>
        <pc:spChg chg="mod">
          <ac:chgData name="Meyer Raphael (PAR-ES)" userId="79615dfe-ed48-4e74-a40f-4f7b034c1c27" providerId="ADAL" clId="{075BCFC8-B02B-4DC4-A4AE-CC9F64D1F990}" dt="2022-03-09T15:37:11.935" v="4"/>
          <ac:spMkLst>
            <pc:docMk/>
            <pc:sldMk cId="2844382326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7:23.197" v="6" actId="20577"/>
          <ac:spMkLst>
            <pc:docMk/>
            <pc:sldMk cId="2844382326" sldId="415"/>
            <ac:spMk id="6" creationId="{1F31F2D2-504B-4B14-95D4-0B8BCA2C6299}"/>
          </ac:spMkLst>
        </pc:spChg>
        <pc:graphicFrameChg chg="mod">
          <ac:chgData name="Meyer Raphael (PAR-ES)" userId="79615dfe-ed48-4e74-a40f-4f7b034c1c27" providerId="ADAL" clId="{075BCFC8-B02B-4DC4-A4AE-CC9F64D1F990}" dt="2022-03-09T15:40:23.320" v="28"/>
          <ac:graphicFrameMkLst>
            <pc:docMk/>
            <pc:sldMk cId="2844382326" sldId="415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13.240" v="26"/>
        <pc:sldMkLst>
          <pc:docMk/>
          <pc:sldMk cId="2251798312" sldId="416"/>
        </pc:sldMkLst>
        <pc:spChg chg="mod">
          <ac:chgData name="Meyer Raphael (PAR-ES)" userId="79615dfe-ed48-4e74-a40f-4f7b034c1c27" providerId="ADAL" clId="{075BCFC8-B02B-4DC4-A4AE-CC9F64D1F990}" dt="2022-03-09T15:39:03.475" v="12"/>
          <ac:spMkLst>
            <pc:docMk/>
            <pc:sldMk cId="225179831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9:15.755" v="14" actId="20577"/>
          <ac:spMkLst>
            <pc:docMk/>
            <pc:sldMk cId="2251798312" sldId="416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39:29.391" v="20" actId="20577"/>
          <ac:spMkLst>
            <pc:docMk/>
            <pc:sldMk cId="2251798312" sldId="416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13.240" v="26"/>
          <ac:graphicFrameMkLst>
            <pc:docMk/>
            <pc:sldMk cId="2251798312" sldId="416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2:32.028" v="46" actId="27918"/>
        <pc:sldMkLst>
          <pc:docMk/>
          <pc:sldMk cId="1913231849" sldId="417"/>
        </pc:sldMkLst>
        <pc:spChg chg="mod">
          <ac:chgData name="Meyer Raphael (PAR-ES)" userId="79615dfe-ed48-4e74-a40f-4f7b034c1c27" providerId="ADAL" clId="{075BCFC8-B02B-4DC4-A4AE-CC9F64D1F990}" dt="2022-03-09T15:41:32.284" v="31"/>
          <ac:spMkLst>
            <pc:docMk/>
            <pc:sldMk cId="1913231849" sldId="41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41:53.137" v="33" actId="20577"/>
          <ac:spMkLst>
            <pc:docMk/>
            <pc:sldMk cId="1913231849" sldId="417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41:58.782" v="41" actId="20577"/>
          <ac:spMkLst>
            <pc:docMk/>
            <pc:sldMk cId="1913231849" sldId="417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46.551" v="30"/>
          <ac:graphicFrameMkLst>
            <pc:docMk/>
            <pc:sldMk cId="1913231849" sldId="417"/>
            <ac:graphicFrameMk id="9" creationId="{00000000-0000-0000-0000-000000000000}"/>
          </ac:graphicFrameMkLst>
        </pc:graphicFrame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4A59743-142D-4CF8-870C-5D2A831C7023}"/>
    <pc:docChg chg="modSld">
      <pc:chgData name="Meyer Raphael (PAR-ES)" userId="79615dfe-ed48-4e74-a40f-4f7b034c1c27" providerId="ADAL" clId="{74A59743-142D-4CF8-870C-5D2A831C7023}" dt="2022-03-09T16:40:35.701" v="36" actId="1037"/>
      <pc:docMkLst>
        <pc:docMk/>
      </pc:docMkLst>
      <pc:sldChg chg="modSp mod">
        <pc:chgData name="Meyer Raphael (PAR-ES)" userId="79615dfe-ed48-4e74-a40f-4f7b034c1c27" providerId="ADAL" clId="{74A59743-142D-4CF8-870C-5D2A831C7023}" dt="2022-03-09T16:40:35.701" v="36" actId="1037"/>
        <pc:sldMkLst>
          <pc:docMk/>
          <pc:sldMk cId="3865012081" sldId="415"/>
        </pc:sldMkLst>
        <pc:spChg chg="mod">
          <ac:chgData name="Meyer Raphael (PAR-ES)" userId="79615dfe-ed48-4e74-a40f-4f7b034c1c27" providerId="ADAL" clId="{74A59743-142D-4CF8-870C-5D2A831C7023}" dt="2022-03-09T16:40:35.701" v="36" actId="1037"/>
          <ac:spMkLst>
            <pc:docMk/>
            <pc:sldMk cId="3865012081" sldId="415"/>
            <ac:spMk id="11" creationId="{45495507-A500-4876-A7D7-039B7559AD0C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PS)" userId="fd3b2067-2981-4ad8-bf3a-d2e1004e4fa8" providerId="ADAL" clId="{954098BC-4924-415E-8EA6-B3107770C350}"/>
    <pc:docChg chg="modSld">
      <pc:chgData name="Weigel Stefan (PAR-EPS)" userId="fd3b2067-2981-4ad8-bf3a-d2e1004e4fa8" providerId="ADAL" clId="{954098BC-4924-415E-8EA6-B3107770C350}" dt="2024-04-26T07:29:16.748" v="51" actId="1037"/>
      <pc:docMkLst>
        <pc:docMk/>
      </pc:docMkLst>
      <pc:sldChg chg="modSp mod">
        <pc:chgData name="Weigel Stefan (PAR-EPS)" userId="fd3b2067-2981-4ad8-bf3a-d2e1004e4fa8" providerId="ADAL" clId="{954098BC-4924-415E-8EA6-B3107770C350}" dt="2024-04-26T07:29:16.748" v="51" actId="1037"/>
        <pc:sldMkLst>
          <pc:docMk/>
          <pc:sldMk cId="3865012081" sldId="415"/>
        </pc:sldMkLst>
        <pc:spChg chg="mod">
          <ac:chgData name="Weigel Stefan (PAR-EPS)" userId="fd3b2067-2981-4ad8-bf3a-d2e1004e4fa8" providerId="ADAL" clId="{954098BC-4924-415E-8EA6-B3107770C350}" dt="2024-04-26T07:28:04.959" v="36" actId="1038"/>
          <ac:spMkLst>
            <pc:docMk/>
            <pc:sldMk cId="3865012081" sldId="415"/>
            <ac:spMk id="11" creationId="{45495507-A500-4876-A7D7-039B7559AD0C}"/>
          </ac:spMkLst>
        </pc:spChg>
        <pc:spChg chg="mod">
          <ac:chgData name="Weigel Stefan (PAR-EPS)" userId="fd3b2067-2981-4ad8-bf3a-d2e1004e4fa8" providerId="ADAL" clId="{954098BC-4924-415E-8EA6-B3107770C350}" dt="2024-04-26T07:29:16.748" v="51" actId="1037"/>
          <ac:spMkLst>
            <pc:docMk/>
            <pc:sldMk cId="3865012081" sldId="415"/>
            <ac:spMk id="12" creationId="{1A4657D7-3337-475E-8E67-E8F468A949AF}"/>
          </ac:spMkLst>
        </pc:spChg>
        <pc:graphicFrameChg chg="mod">
          <ac:chgData name="Weigel Stefan (PAR-EPS)" userId="fd3b2067-2981-4ad8-bf3a-d2e1004e4fa8" providerId="ADAL" clId="{954098BC-4924-415E-8EA6-B3107770C350}" dt="2024-04-26T07:28:24.318" v="40"/>
          <ac:graphicFrameMkLst>
            <pc:docMk/>
            <pc:sldMk cId="3865012081" sldId="415"/>
            <ac:graphicFrameMk id="9" creationId="{00000000-0000-0000-0000-000000000000}"/>
          </ac:graphicFrameMkLst>
        </pc:graphicFrame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8AF8AF8-3015-4A40-885D-1810E82E92DA}"/>
    <pc:docChg chg="delSld">
      <pc:chgData name="Meyer Raphael (PAR-ES)" userId="79615dfe-ed48-4e74-a40f-4f7b034c1c27" providerId="ADAL" clId="{38AF8AF8-3015-4A40-885D-1810E82E92DA}" dt="2022-03-09T15:47:26.635" v="0" actId="47"/>
      <pc:docMkLst>
        <pc:docMk/>
      </pc:docMkLst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844382326" sldId="415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251798312" sldId="416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247BE269-E262-497B-A794-CF645B369F21}"/>
    <pc:docChg chg="custSel modSld">
      <pc:chgData name="Meyer Raphael (PAR-ES)" userId="79615dfe-ed48-4e74-a40f-4f7b034c1c27" providerId="ADAL" clId="{247BE269-E262-497B-A794-CF645B369F21}" dt="2023-03-10T13:34:56.934" v="19" actId="27918"/>
      <pc:docMkLst>
        <pc:docMk/>
      </pc:docMkLst>
      <pc:sldChg chg="modSp mod">
        <pc:chgData name="Meyer Raphael (PAR-ES)" userId="79615dfe-ed48-4e74-a40f-4f7b034c1c27" providerId="ADAL" clId="{247BE269-E262-497B-A794-CF645B369F21}" dt="2023-03-10T13:34:56.934" v="19" actId="27918"/>
        <pc:sldMkLst>
          <pc:docMk/>
          <pc:sldMk cId="3865012081" sldId="415"/>
        </pc:sldMkLst>
        <pc:spChg chg="mod">
          <ac:chgData name="Meyer Raphael (PAR-ES)" userId="79615dfe-ed48-4e74-a40f-4f7b034c1c27" providerId="ADAL" clId="{247BE269-E262-497B-A794-CF645B369F21}" dt="2023-03-10T13:33:46.878" v="10"/>
          <ac:spMkLst>
            <pc:docMk/>
            <pc:sldMk cId="3865012081" sldId="415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247BE269-E262-497B-A794-CF645B369F21}" dt="2023-03-10T13:31:52.425" v="7"/>
          <ac:spMkLst>
            <pc:docMk/>
            <pc:sldMk cId="3865012081" sldId="415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247BE269-E262-497B-A794-CF645B369F21}" dt="2023-03-10T13:33:54.752" v="16" actId="20577"/>
          <ac:spMkLst>
            <pc:docMk/>
            <pc:sldMk cId="3865012081" sldId="415"/>
            <ac:spMk id="12" creationId="{1A4657D7-3337-475E-8E67-E8F468A949AF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0915228494009"/>
          <c:y val="0.15352873238292916"/>
          <c:w val="0.79430876353508262"/>
          <c:h val="0.59741000918965048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data!$C$8</c:f>
              <c:strCache>
                <c:ptCount val="1"/>
                <c:pt idx="0">
                  <c:v>EasyRide</c:v>
                </c:pt>
              </c:strCache>
            </c:strRef>
          </c:tx>
          <c:spPr>
            <a:solidFill>
              <a:schemeClr val="accent4">
                <a:lumMod val="90000"/>
              </a:schemeClr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4.7301999999999997E-2</c:v>
                </c:pt>
                <c:pt idx="5">
                  <c:v>0.80418599999999996</c:v>
                </c:pt>
                <c:pt idx="6">
                  <c:v>3.9528020000000001</c:v>
                </c:pt>
                <c:pt idx="7">
                  <c:v>9.4050329999999995</c:v>
                </c:pt>
                <c:pt idx="8">
                  <c:v>17.491479000000002</c:v>
                </c:pt>
                <c:pt idx="9">
                  <c:v>23.327812000000002</c:v>
                </c:pt>
                <c:pt idx="10">
                  <c:v>31.141587000000001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0"/>
          <c:order val="1"/>
          <c:tx>
            <c:strRef>
              <c:f>data!$D$8</c:f>
              <c:strCache>
                <c:ptCount val="1"/>
                <c:pt idx="0">
                  <c:v>CFF.ch et Mobile CFF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0</c:formatCode>
                <c:ptCount val="11"/>
                <c:pt idx="0">
                  <c:v>13.118081</c:v>
                </c:pt>
                <c:pt idx="1">
                  <c:v>17.974157000000002</c:v>
                </c:pt>
                <c:pt idx="2">
                  <c:v>24.389900000000001</c:v>
                </c:pt>
                <c:pt idx="3">
                  <c:v>32.353721</c:v>
                </c:pt>
                <c:pt idx="4">
                  <c:v>44.220541999999995</c:v>
                </c:pt>
                <c:pt idx="5">
                  <c:v>64.436859999999996</c:v>
                </c:pt>
                <c:pt idx="6">
                  <c:v>51.198005000000002</c:v>
                </c:pt>
                <c:pt idx="7">
                  <c:v>73.108429000000001</c:v>
                </c:pt>
                <c:pt idx="8">
                  <c:v>104.073866</c:v>
                </c:pt>
                <c:pt idx="9">
                  <c:v>126.675342</c:v>
                </c:pt>
                <c:pt idx="10">
                  <c:v>143.516803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2"/>
          <c:tx>
            <c:strRef>
              <c:f>data!$E$8</c:f>
              <c:strCache>
                <c:ptCount val="1"/>
                <c:pt idx="0">
                  <c:v>Distributeurs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E$9:$E$19</c:f>
              <c:numCache>
                <c:formatCode>0</c:formatCode>
                <c:ptCount val="11"/>
                <c:pt idx="0">
                  <c:v>48.869484999999997</c:v>
                </c:pt>
                <c:pt idx="1">
                  <c:v>47.893855000000002</c:v>
                </c:pt>
                <c:pt idx="2">
                  <c:v>49.305990000000001</c:v>
                </c:pt>
                <c:pt idx="3">
                  <c:v>48.396062999999998</c:v>
                </c:pt>
                <c:pt idx="4">
                  <c:v>46.495206000000003</c:v>
                </c:pt>
                <c:pt idx="5">
                  <c:v>42.206930999999997</c:v>
                </c:pt>
                <c:pt idx="6">
                  <c:v>24.688984000000001</c:v>
                </c:pt>
                <c:pt idx="7">
                  <c:v>24.878795</c:v>
                </c:pt>
                <c:pt idx="8">
                  <c:v>28.877310000000001</c:v>
                </c:pt>
                <c:pt idx="9">
                  <c:v>27.097303</c:v>
                </c:pt>
                <c:pt idx="10">
                  <c:v>24.15661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4"/>
          <c:order val="3"/>
          <c:tx>
            <c:strRef>
              <c:f>data!$F$8</c:f>
              <c:strCache>
                <c:ptCount val="1"/>
                <c:pt idx="0">
                  <c:v>Centres voyageurs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F$9:$F$19</c:f>
              <c:numCache>
                <c:formatCode>0</c:formatCode>
                <c:ptCount val="11"/>
                <c:pt idx="0">
                  <c:v>20.913478999999999</c:v>
                </c:pt>
                <c:pt idx="1">
                  <c:v>19.757598999999999</c:v>
                </c:pt>
                <c:pt idx="2">
                  <c:v>15.980143999999999</c:v>
                </c:pt>
                <c:pt idx="3">
                  <c:v>14.588436</c:v>
                </c:pt>
                <c:pt idx="4">
                  <c:v>12.655569</c:v>
                </c:pt>
                <c:pt idx="5">
                  <c:v>11.47528</c:v>
                </c:pt>
                <c:pt idx="6">
                  <c:v>5.9818119999999997</c:v>
                </c:pt>
                <c:pt idx="7">
                  <c:v>6.406377</c:v>
                </c:pt>
                <c:pt idx="8">
                  <c:v>8.9507290000000008</c:v>
                </c:pt>
                <c:pt idx="9">
                  <c:v>9.2324219999999997</c:v>
                </c:pt>
                <c:pt idx="10">
                  <c:v>8.766420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90-400D-B174-6A57E646E29D}"/>
            </c:ext>
          </c:extLst>
        </c:ser>
        <c:ser>
          <c:idx val="3"/>
          <c:order val="4"/>
          <c:tx>
            <c:strRef>
              <c:f>data!$G$8</c:f>
              <c:strCache>
                <c:ptCount val="1"/>
                <c:pt idx="0">
                  <c:v>Autres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G$9:$G$19</c:f>
              <c:numCache>
                <c:formatCode>0</c:formatCode>
                <c:ptCount val="11"/>
                <c:pt idx="0">
                  <c:v>2.1447330000000058</c:v>
                </c:pt>
                <c:pt idx="1">
                  <c:v>1.9853100000000019</c:v>
                </c:pt>
                <c:pt idx="2">
                  <c:v>2.7727089999999954</c:v>
                </c:pt>
                <c:pt idx="3">
                  <c:v>3.5255739999999989</c:v>
                </c:pt>
                <c:pt idx="4">
                  <c:v>3.9583979999999954</c:v>
                </c:pt>
                <c:pt idx="5">
                  <c:v>4.7055430000000058</c:v>
                </c:pt>
                <c:pt idx="6">
                  <c:v>3.9473689999999948</c:v>
                </c:pt>
                <c:pt idx="7">
                  <c:v>4.2629159999999899</c:v>
                </c:pt>
                <c:pt idx="8">
                  <c:v>5.5397880000000299</c:v>
                </c:pt>
                <c:pt idx="9">
                  <c:v>6.5444120000000225</c:v>
                </c:pt>
                <c:pt idx="10">
                  <c:v>7.72724399999998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68F-4D85-A5AC-7762F62740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  <c:extLst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250"/>
          <c:min val="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96041216"/>
        <c:crosses val="autoZero"/>
        <c:crossBetween val="between"/>
        <c:majorUnit val="50"/>
      </c:valAx>
    </c:plotArea>
    <c:legend>
      <c:legendPos val="b"/>
      <c:layout>
        <c:manualLayout>
          <c:xMode val="edge"/>
          <c:yMode val="edge"/>
          <c:x val="0.11370635126179239"/>
          <c:y val="0.81846637485729923"/>
          <c:w val="0.60351797837061583"/>
          <c:h val="9.4409791314303007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461</cdr:x>
      <cdr:y>0.04733</cdr:y>
    </cdr:from>
    <cdr:to>
      <cdr:x>0.2358</cdr:x>
      <cdr:y>0.0934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046974" y="248320"/>
          <a:ext cx="1562442" cy="2420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DE" sz="1100" dirty="0">
              <a:solidFill>
                <a:schemeClr val="tx2"/>
              </a:solidFill>
            </a:rPr>
            <a:t>M billets/</a:t>
          </a:r>
          <a:r>
            <a:rPr lang="de-DE" sz="1100" dirty="0" err="1">
              <a:solidFill>
                <a:schemeClr val="tx2"/>
              </a:solidFill>
            </a:rPr>
            <a:t>abonnements</a:t>
          </a:r>
          <a:endParaRPr lang="de-DE" sz="1100" dirty="0">
            <a:solidFill>
              <a:schemeClr val="tx2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918118742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fr-FR" dirty="0"/>
              <a:t>Vente de billets par canal de distribution.</a:t>
            </a:r>
            <a:endParaRPr lang="de-CH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5495507-A500-4876-A7D7-039B7559AD0C}"/>
              </a:ext>
            </a:extLst>
          </p:cNvPr>
          <p:cNvSpPr txBox="1"/>
          <p:nvPr/>
        </p:nvSpPr>
        <p:spPr>
          <a:xfrm>
            <a:off x="2128838" y="6048375"/>
            <a:ext cx="8016328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Autres: renouvellement automatique de l’abonnement, partenaires de distribution </a:t>
            </a:r>
            <a:r>
              <a:rPr kumimoji="0" lang="fr-FR" sz="11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et Contact Center CFF.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57669" y="5709455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</a:t>
            </a: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  <a:r>
              <a:rPr lang="de-CH" sz="1100" kern="0" spc="0" dirty="0" err="1">
                <a:latin typeface="SBB Light"/>
              </a:rPr>
              <a:t>sbb</a:t>
            </a: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.ch</a:t>
            </a:r>
          </a:p>
        </p:txBody>
      </p:sp>
    </p:spTree>
    <p:extLst>
      <p:ext uri="{BB962C8B-B14F-4D97-AF65-F5344CB8AC3E}">
        <p14:creationId xmlns:p14="http://schemas.microsoft.com/office/powerpoint/2010/main" val="3865012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96e82a89-ba48-4728-b345-cf206dbec8f1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http://purl.org/dc/terms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6668021-070F-493A-BD14-73A1CBAC7FF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6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Vente de billets par canal de distribution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nte de billets par canal de distribution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5-02-24T13:02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